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9"/>
  </p:notesMasterIdLst>
  <p:handoutMasterIdLst>
    <p:handoutMasterId r:id="rId50"/>
  </p:handoutMasterIdLst>
  <p:sldIdLst>
    <p:sldId id="275" r:id="rId2"/>
    <p:sldId id="287" r:id="rId3"/>
    <p:sldId id="309" r:id="rId4"/>
    <p:sldId id="313" r:id="rId5"/>
    <p:sldId id="315" r:id="rId6"/>
    <p:sldId id="288" r:id="rId7"/>
    <p:sldId id="317" r:id="rId8"/>
    <p:sldId id="314" r:id="rId9"/>
    <p:sldId id="291" r:id="rId10"/>
    <p:sldId id="311" r:id="rId11"/>
    <p:sldId id="282" r:id="rId12"/>
    <p:sldId id="283" r:id="rId13"/>
    <p:sldId id="401" r:id="rId14"/>
    <p:sldId id="402" r:id="rId15"/>
    <p:sldId id="409" r:id="rId16"/>
    <p:sldId id="324" r:id="rId17"/>
    <p:sldId id="284" r:id="rId18"/>
    <p:sldId id="285" r:id="rId19"/>
    <p:sldId id="286" r:id="rId20"/>
    <p:sldId id="294" r:id="rId21"/>
    <p:sldId id="319" r:id="rId22"/>
    <p:sldId id="321" r:id="rId23"/>
    <p:sldId id="296" r:id="rId24"/>
    <p:sldId id="302" r:id="rId25"/>
    <p:sldId id="325" r:id="rId26"/>
    <p:sldId id="405" r:id="rId27"/>
    <p:sldId id="413" r:id="rId28"/>
    <p:sldId id="414" r:id="rId29"/>
    <p:sldId id="328" r:id="rId30"/>
    <p:sldId id="329" r:id="rId31"/>
    <p:sldId id="330" r:id="rId32"/>
    <p:sldId id="326" r:id="rId33"/>
    <p:sldId id="332" r:id="rId34"/>
    <p:sldId id="323" r:id="rId35"/>
    <p:sldId id="335" r:id="rId36"/>
    <p:sldId id="337" r:id="rId37"/>
    <p:sldId id="342" r:id="rId38"/>
    <p:sldId id="338" r:id="rId39"/>
    <p:sldId id="410" r:id="rId40"/>
    <p:sldId id="411" r:id="rId41"/>
    <p:sldId id="340" r:id="rId42"/>
    <p:sldId id="336" r:id="rId43"/>
    <p:sldId id="344" r:id="rId44"/>
    <p:sldId id="345" r:id="rId45"/>
    <p:sldId id="346" r:id="rId46"/>
    <p:sldId id="350" r:id="rId47"/>
    <p:sldId id="348" r:id="rId4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95" autoAdjust="0"/>
    <p:restoredTop sz="85438" autoAdjust="0"/>
  </p:normalViewPr>
  <p:slideViewPr>
    <p:cSldViewPr snapToGrid="0">
      <p:cViewPr varScale="1">
        <p:scale>
          <a:sx n="127" d="100"/>
          <a:sy n="127" d="100"/>
        </p:scale>
        <p:origin x="21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10/29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852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9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9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9/2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9/23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9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9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9/23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5A8B334-D4D0-E22A-F1E9-9EC7BE3CBD6C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 when zoomed in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6A4AD-7DD2-D241-95BF-48B926EAF072}"/>
              </a:ext>
            </a:extLst>
          </p:cNvPr>
          <p:cNvSpPr/>
          <p:nvPr/>
        </p:nvSpPr>
        <p:spPr>
          <a:xfrm>
            <a:off x="7184342" y="1995224"/>
            <a:ext cx="332244" cy="363549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37615B-BB2E-7147-856A-4B884392D9E9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712677" y="2358773"/>
            <a:ext cx="2637787" cy="3509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A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forecast a recent real time series and plot it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45CB26-96B9-985B-E409-BD3E5C349B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448"/>
          <a:stretch/>
        </p:blipFill>
        <p:spPr>
          <a:xfrm>
            <a:off x="1612557" y="1531952"/>
            <a:ext cx="5918886" cy="419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 &amp; book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ting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610111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791819" y="3180179"/>
            <a:ext cx="1860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Time Related 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9/23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9/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EA3FA0-9805-6639-F4A0-F326092BBB59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18</TotalTime>
  <Words>2286</Words>
  <Application>Microsoft Macintosh PowerPoint</Application>
  <PresentationFormat>On-screen Show (4:3)</PresentationFormat>
  <Paragraphs>506</Paragraphs>
  <Slides>47</Slides>
  <Notes>10</Notes>
  <HiddenSlides>9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5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Time Series Forecasting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A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B_getRevenueData.R</vt:lpstr>
      <vt:lpstr>Inspecting meta data.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i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C_NaiveNike.R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D_TimeSeriesDecompositionAMZN.R</vt:lpstr>
      <vt:lpstr>But first averages…</vt:lpstr>
      <vt:lpstr>But first averages…</vt:lpstr>
      <vt:lpstr>But first averages…</vt:lpstr>
      <vt:lpstr>But first averages…</vt:lpstr>
      <vt:lpstr>Open E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Ted Kwartler</cp:lastModifiedBy>
  <cp:revision>172</cp:revision>
  <dcterms:created xsi:type="dcterms:W3CDTF">2018-05-11T14:06:45Z</dcterms:created>
  <dcterms:modified xsi:type="dcterms:W3CDTF">2023-10-30T01:27:35Z</dcterms:modified>
</cp:coreProperties>
</file>